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heme/theme5.xml" ContentType="application/vnd.openxmlformats-officedocument.theme+xml"/>
  <Override PartName="/ppt/tags/tag238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178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134.xml" ContentType="application/vnd.openxmlformats-officedocument.presentationml.tags+xml"/>
  <Override PartName="/ppt/slideLayouts/slideLayout87.xml" ContentType="application/vnd.openxmlformats-officedocument.presentationml.slideLayout+xml"/>
  <Override PartName="/ppt/tags/tag181.xml" ContentType="application/vnd.openxmlformats-officedocument.presentationml.tags+xml"/>
  <Default Extension="png" ContentType="image/png"/>
  <Override PartName="/ppt/tags/tag112.xml" ContentType="application/vnd.openxmlformats-officedocument.presentationml.tags+xml"/>
  <Override PartName="/ppt/slideLayouts/slideLayout118.xml" ContentType="application/vnd.openxmlformats-officedocument.presentationml.slideLayout+xml"/>
  <Override PartName="/ppt/tags/tag257.xml" ContentType="application/vnd.openxmlformats-officedocument.presentationml.tag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Layouts/slideLayout65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slideLayouts/slideLayout90.xml" ContentType="application/vnd.openxmlformats-officedocument.presentationml.slideLayout+xml"/>
  <Override PartName="/ppt/tags/tag235.xml" ContentType="application/vnd.openxmlformats-officedocument.presentationml.tags+xml"/>
  <Override PartName="/ppt/slideLayouts/slideLayout143.xml" ContentType="application/vnd.openxmlformats-officedocument.presentationml.slideLayout+xml"/>
  <Override PartName="/ppt/tags/tag282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197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137.xml" ContentType="application/vnd.openxmlformats-officedocument.presentationml.slideLayout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slideLayouts/slideLayout51.xml" ContentType="application/vnd.openxmlformats-officedocument.presentationml.slideLayout+xml"/>
  <Override PartName="/ppt/tags/tag76.xml" ContentType="application/vnd.openxmlformats-officedocument.presentationml.tags+xml"/>
  <Override PartName="/ppt/slideLayouts/slideLayout104.xml" ContentType="application/vnd.openxmlformats-officedocument.presentationml.slideLayout+xml"/>
  <Override PartName="/ppt/tags/tag232.xml" ContentType="application/vnd.openxmlformats-officedocument.presentationml.tags+xml"/>
  <Override PartName="/ppt/slideLayouts/slideLayout14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ags/tag18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slideLayouts/slideLayout89.xml" ContentType="application/vnd.openxmlformats-officedocument.presentationml.slideLayout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Layouts/slideLayout78.xml" ContentType="application/vnd.openxmlformats-officedocument.presentationml.slideLayout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slideLayouts/slideLayout109.xml" ContentType="application/vnd.openxmlformats-officedocument.presentationml.slideLayout+xml"/>
  <Override PartName="/ppt/tags/tag248.xml" ContentType="application/vnd.openxmlformats-officedocument.presentationml.tags+xml"/>
  <Override PartName="/ppt/notesSlides/notesSlide1.xml" ContentType="application/vnd.openxmlformats-officedocument.presentationml.notesSlide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slideLayouts/slideLayout145.xml" ContentType="application/vnd.openxmlformats-officedocument.presentationml.slideLayout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ags/tag215.xml" ContentType="application/vnd.openxmlformats-officedocument.presentationml.tags+xml"/>
  <Override PartName="/ppt/slideLayouts/slideLayout134.xml" ContentType="application/vnd.openxmlformats-officedocument.presentationml.slideLayout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70.xml" ContentType="application/vnd.openxmlformats-officedocument.presentationml.slideLayout+xml"/>
  <Override PartName="/ppt/tags/tag188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slideLayouts/slideLayout101.xml" ContentType="application/vnd.openxmlformats-officedocument.presentationml.slideLayout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slideMasters/slideMaster7.xml" ContentType="application/vnd.openxmlformats-officedocument.presentationml.slideMaster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heme/theme9.xml" ContentType="application/vnd.openxmlformats-officedocument.theme+xml"/>
  <Override PartName="/ppt/tags/tag133.xml" ContentType="application/vnd.openxmlformats-officedocument.presentationml.tags+xml"/>
  <Override PartName="/ppt/slideLayouts/slideLayout97.xml" ContentType="application/vnd.openxmlformats-officedocument.presentationml.slideLayout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slideLayouts/slideLayout139.xml" ContentType="application/vnd.openxmlformats-officedocument.presentationml.slideLayout+xml"/>
  <Override PartName="/ppt/tags/tag278.xml" ContentType="application/vnd.openxmlformats-officedocument.presentationml.tags+xml"/>
  <Override PartName="/ppt/slideLayouts/slideLayout39.xml" ContentType="application/vnd.openxmlformats-officedocument.presentationml.slideLayout+xml"/>
  <Override PartName="/ppt/tags/tag12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117.xml" ContentType="application/vnd.openxmlformats-officedocument.presentationml.slideLayout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Layouts/slideLayout106.xml" ContentType="application/vnd.openxmlformats-officedocument.presentationml.slideLayout+xml"/>
  <Override PartName="/ppt/tags/tag234.xml" ContentType="application/vnd.openxmlformats-officedocument.presentationml.tags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ags/tag281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Layouts/slideLayout131.xml" ContentType="application/vnd.openxmlformats-officedocument.presentationml.slideLayout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slideLayouts/slideLayout120.xml" ContentType="application/vnd.openxmlformats-officedocument.presentationml.slideLayout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heme/theme6.xml" ContentType="application/vnd.openxmlformats-officedocument.theme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slideLayouts/slideLayout147.xml" ContentType="application/vnd.openxmlformats-officedocument.presentationml.slideLayout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94.xml" ContentType="application/vnd.openxmlformats-officedocument.presentationml.slideLayout+xml"/>
  <Override PartName="/ppt/tags/tag217.xml" ContentType="application/vnd.openxmlformats-officedocument.presentationml.tags+xml"/>
  <Override PartName="/ppt/slideLayouts/slideLayout136.xml" ContentType="application/vnd.openxmlformats-officedocument.presentationml.slideLayout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tags/tag97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slideLayouts/slideLayout150.xml" ContentType="application/vnd.openxmlformats-officedocument.presentationml.slideLayout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slideLayouts/slideLayout99.xml" ContentType="application/vnd.openxmlformats-officedocument.presentationml.slideLayout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slideLayouts/slideLayout88.xml" ContentType="application/vnd.openxmlformats-officedocument.presentationml.slideLayout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Layouts/slideLayout119.xml" ContentType="application/vnd.openxmlformats-officedocument.presentationml.slideLayout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slideLayouts/slideLayout108.xml" ContentType="application/vnd.openxmlformats-officedocument.presentationml.slideLayout+xml"/>
  <Override PartName="/ppt/tags/tag236.xml" ContentType="application/vnd.openxmlformats-officedocument.presentationml.tags+xml"/>
  <Override PartName="/ppt/slideLayouts/slideLayout155.xml" ContentType="application/vnd.openxmlformats-officedocument.presentationml.slideLayout+xml"/>
  <Override PartName="/ppt/tags/tag283.xml" ContentType="application/vnd.openxmlformats-officedocument.presentationml.tags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slideLayouts/slideLayout91.xml" ContentType="application/vnd.openxmlformats-officedocument.presentationml.slideLayout+xml"/>
  <Override PartName="/ppt/tags/tag225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ags/tag27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tags/tag94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slideLayouts/slideLayout111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slideMasters/slideMaster6.xml" ContentType="application/vnd.openxmlformats-officedocument.presentationml.slideMaster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heme/theme8.xml" ContentType="application/vnd.openxmlformats-officedocument.theme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Layouts/slideLayout149.xml" ContentType="application/vnd.openxmlformats-officedocument.presentationml.slideLayout+xml"/>
  <Override PartName="/ppt/tags/tag27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ags/tag219.xml" ContentType="application/vnd.openxmlformats-officedocument.presentationml.tags+xml"/>
  <Override PartName="/ppt/slideLayouts/slideLayout138.xml" ContentType="application/vnd.openxmlformats-officedocument.presentationml.slideLayout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ags/tag233.xml" ContentType="application/vnd.openxmlformats-officedocument.presentationml.tags+xml"/>
  <Override PartName="/ppt/slideLayouts/slideLayout152.xml" ContentType="application/vnd.openxmlformats-officedocument.presentationml.slideLayout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1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slideLayouts/slideLayout130.xml" ContentType="application/vnd.openxmlformats-officedocument.presentationml.slideLayout+xml"/>
  <Override PartName="/ppt/tags/tag211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tags/tag227.xml" ContentType="application/vnd.openxmlformats-officedocument.presentationml.tags+xml"/>
  <Override PartName="/ppt/slideLayouts/slideLayout135.xml" ContentType="application/vnd.openxmlformats-officedocument.presentationml.slideLayout+xml"/>
  <Override PartName="/ppt/tags/tag274.xml" ContentType="application/vnd.openxmlformats-officedocument.presentationml.tags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slideLayouts/slideLayout82.xml" ContentType="application/vnd.openxmlformats-officedocument.presentationml.slideLayout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189.xml" ContentType="application/vnd.openxmlformats-officedocument.presentationml.tags+xml"/>
  <Override PartName="/ppt/slideLayouts/slideLayout113.xml" ContentType="application/vnd.openxmlformats-officedocument.presentationml.slideLayout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slideLayouts/slideLayout98.xml" ContentType="application/vnd.openxmlformats-officedocument.presentationml.slideLayout+xml"/>
  <Override PartName="/ppt/tags/tag268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129.xml" ContentType="application/vnd.openxmlformats-officedocument.presentationml.slideLayout+xml"/>
  <Override PartName="/ppt/tags/tag101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ags/tag246.xml" ContentType="application/vnd.openxmlformats-officedocument.presentationml.tags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slideLayouts/slideLayout110.xml" ContentType="application/vnd.openxmlformats-officedocument.presentationml.slideLayout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42.xml" ContentType="application/vnd.openxmlformats-officedocument.presentationml.tags+xml"/>
  <Override PartName="/ppt/theme/theme7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  <p:sldMasterId id="2147483841" r:id="rId2"/>
    <p:sldMasterId id="2147483700" r:id="rId3"/>
    <p:sldMasterId id="2147483725" r:id="rId4"/>
    <p:sldMasterId id="2147483762" r:id="rId5"/>
    <p:sldMasterId id="2147483787" r:id="rId6"/>
    <p:sldMasterId id="2147483816" r:id="rId7"/>
  </p:sldMasterIdLst>
  <p:notesMasterIdLst>
    <p:notesMasterId r:id="rId21"/>
  </p:notesMasterIdLst>
  <p:handoutMasterIdLst>
    <p:handoutMasterId r:id="rId22"/>
  </p:handoutMasterIdLst>
  <p:sldIdLst>
    <p:sldId id="261" r:id="rId8"/>
    <p:sldId id="307" r:id="rId9"/>
    <p:sldId id="281" r:id="rId10"/>
    <p:sldId id="315" r:id="rId11"/>
    <p:sldId id="317" r:id="rId12"/>
    <p:sldId id="318" r:id="rId13"/>
    <p:sldId id="319" r:id="rId14"/>
    <p:sldId id="320" r:id="rId15"/>
    <p:sldId id="321" r:id="rId16"/>
    <p:sldId id="322" r:id="rId17"/>
    <p:sldId id="316" r:id="rId18"/>
    <p:sldId id="323" r:id="rId19"/>
    <p:sldId id="283" r:id="rId20"/>
  </p:sldIdLst>
  <p:sldSz cx="9144000" cy="6858000" type="screen4x3"/>
  <p:notesSz cx="6819900" cy="99187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4" userDrawn="1">
          <p15:clr>
            <a:srgbClr val="A4A3A4"/>
          </p15:clr>
        </p15:guide>
        <p15:guide id="2" pos="214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5121B"/>
    <a:srgbClr val="00329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36" autoAdjust="0"/>
    <p:restoredTop sz="96433" autoAdjust="0"/>
  </p:normalViewPr>
  <p:slideViewPr>
    <p:cSldViewPr>
      <p:cViewPr varScale="1">
        <p:scale>
          <a:sx n="112" d="100"/>
          <a:sy n="112" d="100"/>
        </p:scale>
        <p:origin x="-1872" y="-84"/>
      </p:cViewPr>
      <p:guideLst>
        <p:guide orient="horz" pos="3838"/>
        <p:guide orient="horz" pos="890"/>
        <p:guide pos="5602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35" d="100"/>
        <a:sy n="35" d="100"/>
      </p:scale>
      <p:origin x="0" y="0"/>
    </p:cViewPr>
  </p:sorterViewPr>
  <p:notesViewPr>
    <p:cSldViewPr showGuides="1">
      <p:cViewPr varScale="1">
        <p:scale>
          <a:sx n="82" d="100"/>
          <a:sy n="82" d="100"/>
        </p:scale>
        <p:origin x="3966" y="90"/>
      </p:cViewPr>
      <p:guideLst>
        <p:guide orient="horz" pos="3124"/>
        <p:guide pos="2148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55290" cy="495934"/>
          </a:xfrm>
          <a:prstGeom prst="rect">
            <a:avLst/>
          </a:prstGeom>
        </p:spPr>
        <p:txBody>
          <a:bodyPr vert="horz" lIns="90791" tIns="45395" rIns="90791" bIns="45395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63034" y="3"/>
            <a:ext cx="2955290" cy="495934"/>
          </a:xfrm>
          <a:prstGeom prst="rect">
            <a:avLst/>
          </a:prstGeom>
        </p:spPr>
        <p:txBody>
          <a:bodyPr vert="horz" lIns="90791" tIns="45395" rIns="90791" bIns="45395" rtlCol="0"/>
          <a:lstStyle>
            <a:lvl1pPr algn="r">
              <a:defRPr sz="1200"/>
            </a:lvl1pPr>
          </a:lstStyle>
          <a:p>
            <a:fld id="{8BC7F027-379E-4D32-9199-1B8938F68AAE}" type="datetimeFigureOut">
              <a:rPr lang="en-GB" smtClean="0"/>
              <a:pPr/>
              <a:t>31/05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21045"/>
            <a:ext cx="2955290" cy="495934"/>
          </a:xfrm>
          <a:prstGeom prst="rect">
            <a:avLst/>
          </a:prstGeom>
        </p:spPr>
        <p:txBody>
          <a:bodyPr vert="horz" lIns="90791" tIns="45395" rIns="90791" bIns="45395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63034" y="9421045"/>
            <a:ext cx="2955290" cy="495934"/>
          </a:xfrm>
          <a:prstGeom prst="rect">
            <a:avLst/>
          </a:prstGeom>
        </p:spPr>
        <p:txBody>
          <a:bodyPr vert="horz" lIns="90791" tIns="45395" rIns="90791" bIns="45395" rtlCol="0" anchor="b"/>
          <a:lstStyle>
            <a:lvl1pPr algn="r">
              <a:defRPr sz="1200"/>
            </a:lvl1pPr>
          </a:lstStyle>
          <a:p>
            <a:fld id="{9CB3FB82-2445-4031-8D77-475052559E5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762455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2955290" cy="495934"/>
          </a:xfrm>
          <a:prstGeom prst="rect">
            <a:avLst/>
          </a:prstGeom>
        </p:spPr>
        <p:txBody>
          <a:bodyPr vert="horz" lIns="90791" tIns="45395" rIns="90791" bIns="45395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63034" y="3"/>
            <a:ext cx="2955290" cy="495934"/>
          </a:xfrm>
          <a:prstGeom prst="rect">
            <a:avLst/>
          </a:prstGeom>
        </p:spPr>
        <p:txBody>
          <a:bodyPr vert="horz" lIns="90791" tIns="45395" rIns="90791" bIns="45395" rtlCol="0"/>
          <a:lstStyle>
            <a:lvl1pPr algn="r">
              <a:defRPr sz="1200"/>
            </a:lvl1pPr>
          </a:lstStyle>
          <a:p>
            <a:fld id="{0B7E7989-31F3-4EB9-8547-909D99F43AE5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44538"/>
            <a:ext cx="4959350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91" tIns="45395" rIns="90791" bIns="45395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1991" y="4711384"/>
            <a:ext cx="5455920" cy="4463415"/>
          </a:xfrm>
          <a:prstGeom prst="rect">
            <a:avLst/>
          </a:prstGeom>
        </p:spPr>
        <p:txBody>
          <a:bodyPr vert="horz" lIns="90791" tIns="45395" rIns="90791" bIns="4539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1045"/>
            <a:ext cx="2955290" cy="495934"/>
          </a:xfrm>
          <a:prstGeom prst="rect">
            <a:avLst/>
          </a:prstGeom>
        </p:spPr>
        <p:txBody>
          <a:bodyPr vert="horz" lIns="90791" tIns="45395" rIns="90791" bIns="45395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63034" y="9421045"/>
            <a:ext cx="2955290" cy="495934"/>
          </a:xfrm>
          <a:prstGeom prst="rect">
            <a:avLst/>
          </a:prstGeom>
        </p:spPr>
        <p:txBody>
          <a:bodyPr vert="horz" lIns="90791" tIns="45395" rIns="90791" bIns="45395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4001525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8.xml"/><Relationship Id="rId1" Type="http://schemas.openxmlformats.org/officeDocument/2006/relationships/tags" Target="../tags/tag177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0.xml"/><Relationship Id="rId1" Type="http://schemas.openxmlformats.org/officeDocument/2006/relationships/tags" Target="../tags/tag179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2.xml"/><Relationship Id="rId1" Type="http://schemas.openxmlformats.org/officeDocument/2006/relationships/tags" Target="../tags/tag18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4.xml"/><Relationship Id="rId1" Type="http://schemas.openxmlformats.org/officeDocument/2006/relationships/tags" Target="../tags/tag18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6.xml"/><Relationship Id="rId1" Type="http://schemas.openxmlformats.org/officeDocument/2006/relationships/tags" Target="../tags/tag18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8.xml"/><Relationship Id="rId1" Type="http://schemas.openxmlformats.org/officeDocument/2006/relationships/tags" Target="../tags/tag18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9.xml"/><Relationship Id="rId4" Type="http://schemas.openxmlformats.org/officeDocument/2006/relationships/image" Target="../media/image9.png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7.xml"/><Relationship Id="rId1" Type="http://schemas.openxmlformats.org/officeDocument/2006/relationships/tags" Target="../tags/tag19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9.xml"/><Relationship Id="rId1" Type="http://schemas.openxmlformats.org/officeDocument/2006/relationships/tags" Target="../tags/tag198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1.xml"/><Relationship Id="rId1" Type="http://schemas.openxmlformats.org/officeDocument/2006/relationships/tags" Target="../tags/tag200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3.xml"/><Relationship Id="rId1" Type="http://schemas.openxmlformats.org/officeDocument/2006/relationships/tags" Target="../tags/tag202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5.xml"/><Relationship Id="rId1" Type="http://schemas.openxmlformats.org/officeDocument/2006/relationships/tags" Target="../tags/tag20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7.xml"/><Relationship Id="rId1" Type="http://schemas.openxmlformats.org/officeDocument/2006/relationships/tags" Target="../tags/tag206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9.xml"/><Relationship Id="rId1" Type="http://schemas.openxmlformats.org/officeDocument/2006/relationships/tags" Target="../tags/tag20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1.xml"/><Relationship Id="rId1" Type="http://schemas.openxmlformats.org/officeDocument/2006/relationships/tags" Target="../tags/tag210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3.xml"/><Relationship Id="rId1" Type="http://schemas.openxmlformats.org/officeDocument/2006/relationships/tags" Target="../tags/tag21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5.xml"/><Relationship Id="rId1" Type="http://schemas.openxmlformats.org/officeDocument/2006/relationships/tags" Target="../tags/tag21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7.xml"/><Relationship Id="rId1" Type="http://schemas.openxmlformats.org/officeDocument/2006/relationships/tags" Target="../tags/tag21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9.xml"/><Relationship Id="rId1" Type="http://schemas.openxmlformats.org/officeDocument/2006/relationships/tags" Target="../tags/tag218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1.xml"/><Relationship Id="rId1" Type="http://schemas.openxmlformats.org/officeDocument/2006/relationships/tags" Target="../tags/tag220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3.xml"/><Relationship Id="rId1" Type="http://schemas.openxmlformats.org/officeDocument/2006/relationships/tags" Target="../tags/tag22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5.xml"/><Relationship Id="rId1" Type="http://schemas.openxmlformats.org/officeDocument/2006/relationships/tags" Target="../tags/tag22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7.xml"/><Relationship Id="rId1" Type="http://schemas.openxmlformats.org/officeDocument/2006/relationships/tags" Target="../tags/tag226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9.xml"/><Relationship Id="rId1" Type="http://schemas.openxmlformats.org/officeDocument/2006/relationships/tags" Target="../tags/tag228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1.xml"/><Relationship Id="rId1" Type="http://schemas.openxmlformats.org/officeDocument/2006/relationships/tags" Target="../tags/tag230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3.xml"/><Relationship Id="rId1" Type="http://schemas.openxmlformats.org/officeDocument/2006/relationships/tags" Target="../tags/tag23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5.xml"/><Relationship Id="rId1" Type="http://schemas.openxmlformats.org/officeDocument/2006/relationships/tags" Target="../tags/tag23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6.xml"/><Relationship Id="rId4" Type="http://schemas.openxmlformats.org/officeDocument/2006/relationships/image" Target="../media/image15.png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3.xml"/><Relationship Id="rId1" Type="http://schemas.openxmlformats.org/officeDocument/2006/relationships/tags" Target="../tags/tag24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5.xml"/><Relationship Id="rId1" Type="http://schemas.openxmlformats.org/officeDocument/2006/relationships/tags" Target="../tags/tag24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7.xml"/><Relationship Id="rId1" Type="http://schemas.openxmlformats.org/officeDocument/2006/relationships/tags" Target="../tags/tag24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9.xml"/><Relationship Id="rId1" Type="http://schemas.openxmlformats.org/officeDocument/2006/relationships/tags" Target="../tags/tag248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1.xml"/><Relationship Id="rId1" Type="http://schemas.openxmlformats.org/officeDocument/2006/relationships/tags" Target="../tags/tag25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3.xml"/><Relationship Id="rId1" Type="http://schemas.openxmlformats.org/officeDocument/2006/relationships/tags" Target="../tags/tag25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5.xml"/><Relationship Id="rId1" Type="http://schemas.openxmlformats.org/officeDocument/2006/relationships/tags" Target="../tags/tag25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7.xml"/><Relationship Id="rId1" Type="http://schemas.openxmlformats.org/officeDocument/2006/relationships/tags" Target="../tags/tag25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9.xml"/><Relationship Id="rId1" Type="http://schemas.openxmlformats.org/officeDocument/2006/relationships/tags" Target="../tags/tag25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1.xml"/><Relationship Id="rId1" Type="http://schemas.openxmlformats.org/officeDocument/2006/relationships/tags" Target="../tags/tag260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3.xml"/><Relationship Id="rId1" Type="http://schemas.openxmlformats.org/officeDocument/2006/relationships/tags" Target="../tags/tag26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5.xml"/><Relationship Id="rId1" Type="http://schemas.openxmlformats.org/officeDocument/2006/relationships/tags" Target="../tags/tag264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7.xml"/><Relationship Id="rId1" Type="http://schemas.openxmlformats.org/officeDocument/2006/relationships/tags" Target="../tags/tag26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9.xml"/><Relationship Id="rId1" Type="http://schemas.openxmlformats.org/officeDocument/2006/relationships/tags" Target="../tags/tag268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1.xml"/><Relationship Id="rId1" Type="http://schemas.openxmlformats.org/officeDocument/2006/relationships/tags" Target="../tags/tag270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3.xml"/><Relationship Id="rId1" Type="http://schemas.openxmlformats.org/officeDocument/2006/relationships/tags" Target="../tags/tag27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5.xml"/><Relationship Id="rId1" Type="http://schemas.openxmlformats.org/officeDocument/2006/relationships/tags" Target="../tags/tag274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7.xml"/><Relationship Id="rId1" Type="http://schemas.openxmlformats.org/officeDocument/2006/relationships/tags" Target="../tags/tag27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9.xml"/><Relationship Id="rId1" Type="http://schemas.openxmlformats.org/officeDocument/2006/relationships/tags" Target="../tags/tag278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81.xml"/><Relationship Id="rId1" Type="http://schemas.openxmlformats.org/officeDocument/2006/relationships/tags" Target="../tags/tag280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282.xml"/><Relationship Id="rId4" Type="http://schemas.openxmlformats.org/officeDocument/2006/relationships/image" Target="../media/image12.png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tags" Target="../tags/tag87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0.xml"/><Relationship Id="rId1" Type="http://schemas.openxmlformats.org/officeDocument/2006/relationships/tags" Target="../tags/tag8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2.xml"/><Relationship Id="rId1" Type="http://schemas.openxmlformats.org/officeDocument/2006/relationships/tags" Target="../tags/tag9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4.xml"/><Relationship Id="rId1" Type="http://schemas.openxmlformats.org/officeDocument/2006/relationships/tags" Target="../tags/tag9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Relationship Id="rId4" Type="http://schemas.openxmlformats.org/officeDocument/2006/relationships/image" Target="../media/image9.pn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3.xml"/><Relationship Id="rId1" Type="http://schemas.openxmlformats.org/officeDocument/2006/relationships/tags" Target="../tags/tag10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5.xml"/><Relationship Id="rId1" Type="http://schemas.openxmlformats.org/officeDocument/2006/relationships/tags" Target="../tags/tag10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7.xml"/><Relationship Id="rId1" Type="http://schemas.openxmlformats.org/officeDocument/2006/relationships/tags" Target="../tags/tag10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9.xml"/><Relationship Id="rId1" Type="http://schemas.openxmlformats.org/officeDocument/2006/relationships/tags" Target="../tags/tag108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3.xml"/><Relationship Id="rId1" Type="http://schemas.openxmlformats.org/officeDocument/2006/relationships/tags" Target="../tags/tag11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5.xml"/><Relationship Id="rId1" Type="http://schemas.openxmlformats.org/officeDocument/2006/relationships/tags" Target="../tags/tag11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7.xml"/><Relationship Id="rId1" Type="http://schemas.openxmlformats.org/officeDocument/2006/relationships/tags" Target="../tags/tag11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1.xml"/><Relationship Id="rId1" Type="http://schemas.openxmlformats.org/officeDocument/2006/relationships/tags" Target="../tags/tag12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3.xml"/><Relationship Id="rId1" Type="http://schemas.openxmlformats.org/officeDocument/2006/relationships/tags" Target="../tags/tag122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5.xml"/><Relationship Id="rId1" Type="http://schemas.openxmlformats.org/officeDocument/2006/relationships/tags" Target="../tags/tag12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7.xml"/><Relationship Id="rId1" Type="http://schemas.openxmlformats.org/officeDocument/2006/relationships/tags" Target="../tags/tag12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9.xml"/><Relationship Id="rId1" Type="http://schemas.openxmlformats.org/officeDocument/2006/relationships/tags" Target="../tags/tag128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1.xml"/><Relationship Id="rId1" Type="http://schemas.openxmlformats.org/officeDocument/2006/relationships/tags" Target="../tags/tag130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5.xml"/><Relationship Id="rId1" Type="http://schemas.openxmlformats.org/officeDocument/2006/relationships/tags" Target="../tags/tag13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7.xml"/><Relationship Id="rId1" Type="http://schemas.openxmlformats.org/officeDocument/2006/relationships/tags" Target="../tags/tag13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9.xml"/><Relationship Id="rId1" Type="http://schemas.openxmlformats.org/officeDocument/2006/relationships/tags" Target="../tags/tag13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1.xml"/><Relationship Id="rId1" Type="http://schemas.openxmlformats.org/officeDocument/2006/relationships/tags" Target="../tags/tag14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2.xml"/><Relationship Id="rId4" Type="http://schemas.openxmlformats.org/officeDocument/2006/relationships/image" Target="../media/image12.png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0.xml"/><Relationship Id="rId1" Type="http://schemas.openxmlformats.org/officeDocument/2006/relationships/tags" Target="../tags/tag149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2.xml"/><Relationship Id="rId1" Type="http://schemas.openxmlformats.org/officeDocument/2006/relationships/tags" Target="../tags/tag151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6.xml"/><Relationship Id="rId1" Type="http://schemas.openxmlformats.org/officeDocument/2006/relationships/tags" Target="../tags/tag15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8.xml"/><Relationship Id="rId1" Type="http://schemas.openxmlformats.org/officeDocument/2006/relationships/tags" Target="../tags/tag15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0.xml"/><Relationship Id="rId1" Type="http://schemas.openxmlformats.org/officeDocument/2006/relationships/tags" Target="../tags/tag159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2.xml"/><Relationship Id="rId1" Type="http://schemas.openxmlformats.org/officeDocument/2006/relationships/tags" Target="../tags/tag161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4.xml"/><Relationship Id="rId1" Type="http://schemas.openxmlformats.org/officeDocument/2006/relationships/tags" Target="../tags/tag163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6.xml"/><Relationship Id="rId1" Type="http://schemas.openxmlformats.org/officeDocument/2006/relationships/tags" Target="../tags/tag16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8.xml"/><Relationship Id="rId1" Type="http://schemas.openxmlformats.org/officeDocument/2006/relationships/tags" Target="../tags/tag16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0.xml"/><Relationship Id="rId1" Type="http://schemas.openxmlformats.org/officeDocument/2006/relationships/tags" Target="../tags/tag16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2.xml"/><Relationship Id="rId1" Type="http://schemas.openxmlformats.org/officeDocument/2006/relationships/tags" Target="../tags/tag17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4.xml"/><Relationship Id="rId1" Type="http://schemas.openxmlformats.org/officeDocument/2006/relationships/tags" Target="../tags/tag17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6.xml"/><Relationship Id="rId1" Type="http://schemas.openxmlformats.org/officeDocument/2006/relationships/tags" Target="../tags/tag17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Education\WCG - Logo - Education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5"/>
            <a:ext cx="5635439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5966899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462920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6362712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9592643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5041802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3365660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Education\WCG - Logo - Education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5836" y="1883177"/>
            <a:ext cx="2580800" cy="72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7021401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9844419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914400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Department of the Premier\WCG - Logo - Department of the Premier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749373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124940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5577351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944404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1827770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8538865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309948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3120311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6666583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51196497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4892677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466070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925598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15255228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4385231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4399836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7999337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3807215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89475138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1409732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3303355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579951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defTabSz="91440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 descr="C:\Users\Conny\Desktop\WCG\WCG - Logo\PNG\Logos blue\Department of the Premier\WCG - Logo - Department of the Premier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0102" y="1910659"/>
            <a:ext cx="2446066" cy="689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626191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6016730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Dat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lace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|</a:t>
            </a:r>
            <a:endParaRPr lang="en-GB" dirty="0"/>
          </a:p>
        </p:txBody>
      </p:sp>
      <p:pic>
        <p:nvPicPr>
          <p:cNvPr id="9" name="Picture 2" descr="C:\Users\Conny\Desktop\WCG\WCG - Logo\PNG\Logos blue\Education\WCG - Logo - Education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5"/>
            <a:ext cx="5635439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1153245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50126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62568229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6738794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4791990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7451719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3782833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5638023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015157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Education\WCG - Logo - Education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4324" y="6166615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7095614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53704928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5664645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8664033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5490943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5016883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9046686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2687439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17053980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80355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2771457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6350189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391143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40815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622963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165811591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762700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 smtClean="0"/>
              <a:t>PROGRESS REPORT – INFRASTRUCTURE DELIVERY IN THE 4</a:t>
            </a:r>
            <a:r>
              <a:rPr lang="en-ZA" baseline="30000" dirty="0" smtClean="0"/>
              <a:t>TH</a:t>
            </a:r>
            <a:r>
              <a:rPr lang="en-ZA" dirty="0" smtClean="0"/>
              <a:t> QUARTER 2017/18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Education\WCG - Logo - Education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5836" y="1883177"/>
            <a:ext cx="2580800" cy="72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0F2F9-82DD-46DD-81A0-E4D2C6CC4F4F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0110987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0F2F9-82DD-46DD-81A0-E4D2C6CC4F4F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2662915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0F2F9-82DD-46DD-81A0-E4D2C6CC4F4F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3773318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0F2F9-82DD-46DD-81A0-E4D2C6CC4F4F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9457733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0F2F9-82DD-46DD-81A0-E4D2C6CC4F4F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4049206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0F2F9-82DD-46DD-81A0-E4D2C6CC4F4F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4349307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0F2F9-82DD-46DD-81A0-E4D2C6CC4F4F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1218444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0F2F9-82DD-46DD-81A0-E4D2C6CC4F4F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2422932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Z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0F2F9-82DD-46DD-81A0-E4D2C6CC4F4F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2001148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0F2F9-82DD-46DD-81A0-E4D2C6CC4F4F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3146058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30F2F9-82DD-46DD-81A0-E4D2C6CC4F4F}" type="datetimeFigureOut">
              <a:rPr lang="en-ZA" smtClean="0"/>
              <a:pPr/>
              <a:t>2018/05/3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24071271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44DF0C3E-4E99-4E2E-BA98-3D852DE6B51F}" type="datetime3">
              <a:rPr lang="en-US" smtClean="0"/>
              <a:pPr/>
              <a:t>31 May 2018</a:t>
            </a:fld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Education\WCG - Logo - Education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5"/>
            <a:ext cx="5635439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486459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25063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221359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57361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0899584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450868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6720757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285970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763000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2291412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990448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217944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362449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Education\WCG - Logo - Education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4324" y="6166615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515726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930136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200337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1948795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820264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768537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245739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489084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440778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Education\WCG - Logo - Education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5836" y="1883177"/>
            <a:ext cx="2580800" cy="72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348187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734025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2506900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017434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16519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762085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5778041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3424068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1287094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1411230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4633933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3313364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0521501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924373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371372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252795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351750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4408094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9896669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0101295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404799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728696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105685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0931731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8388379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8487255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 descr="C:\Users\Conny\Desktop\WCG\WCG - Logo\PNG\Logos blue\Education\WCG - Logo - Education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5"/>
            <a:ext cx="5635439" cy="1576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937856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22638030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233441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90826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772772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36590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1237200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3489772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680574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48328777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352543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9038960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4476354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7" name="Picture 115" descr="C:\Users\Conny\Desktop\WCG\WCG - Logo\PNG\Logos blue\Education\WCG - Logo - Education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4324" y="6166615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0611431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1713496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560399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35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theme" Target="../theme/theme3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tags" Target="../tags/tag51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slideLayout" Target="../slideLayouts/slideLayout59.xml"/><Relationship Id="rId32" Type="http://schemas.openxmlformats.org/officeDocument/2006/relationships/tags" Target="../tags/tag54.xml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tags" Target="../tags/tag50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tags" Target="../tags/tag53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theme" Target="../theme/theme4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tags" Target="../tags/tag98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32" Type="http://schemas.openxmlformats.org/officeDocument/2006/relationships/tags" Target="../tags/tag101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tags" Target="../tags/tag97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31" Type="http://schemas.openxmlformats.org/officeDocument/2006/relationships/tags" Target="../tags/tag100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tags" Target="../tags/tag96.xml"/><Relationship Id="rId30" Type="http://schemas.openxmlformats.org/officeDocument/2006/relationships/tags" Target="../tags/tag99.xml"/><Relationship Id="rId35" Type="http://schemas.openxmlformats.org/officeDocument/2006/relationships/image" Target="../media/image10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slideLayout" Target="../slideLayouts/slideLayout101.xml"/><Relationship Id="rId26" Type="http://schemas.openxmlformats.org/officeDocument/2006/relationships/vmlDrawing" Target="../drawings/vmlDrawing4.vml"/><Relationship Id="rId3" Type="http://schemas.openxmlformats.org/officeDocument/2006/relationships/slideLayout" Target="../slideLayouts/slideLayout86.xml"/><Relationship Id="rId21" Type="http://schemas.openxmlformats.org/officeDocument/2006/relationships/slideLayout" Target="../slideLayouts/slideLayout104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slideLayout" Target="../slideLayouts/slideLayout100.xml"/><Relationship Id="rId25" Type="http://schemas.openxmlformats.org/officeDocument/2006/relationships/theme" Target="../theme/theme5.xml"/><Relationship Id="rId33" Type="http://schemas.openxmlformats.org/officeDocument/2006/relationships/oleObject" Target="../embeddings/oleObject4.bin"/><Relationship Id="rId2" Type="http://schemas.openxmlformats.org/officeDocument/2006/relationships/slideLayout" Target="../slideLayouts/slideLayout85.xml"/><Relationship Id="rId16" Type="http://schemas.openxmlformats.org/officeDocument/2006/relationships/slideLayout" Target="../slideLayouts/slideLayout99.xml"/><Relationship Id="rId20" Type="http://schemas.openxmlformats.org/officeDocument/2006/relationships/slideLayout" Target="../slideLayouts/slideLayout103.xml"/><Relationship Id="rId29" Type="http://schemas.openxmlformats.org/officeDocument/2006/relationships/tags" Target="../tags/tag145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24" Type="http://schemas.openxmlformats.org/officeDocument/2006/relationships/slideLayout" Target="../slideLayouts/slideLayout107.xml"/><Relationship Id="rId32" Type="http://schemas.openxmlformats.org/officeDocument/2006/relationships/tags" Target="../tags/tag148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23" Type="http://schemas.openxmlformats.org/officeDocument/2006/relationships/slideLayout" Target="../slideLayouts/slideLayout106.xml"/><Relationship Id="rId28" Type="http://schemas.openxmlformats.org/officeDocument/2006/relationships/tags" Target="../tags/tag144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93.xml"/><Relationship Id="rId19" Type="http://schemas.openxmlformats.org/officeDocument/2006/relationships/slideLayout" Target="../slideLayouts/slideLayout102.xml"/><Relationship Id="rId31" Type="http://schemas.openxmlformats.org/officeDocument/2006/relationships/tags" Target="../tags/tag147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Relationship Id="rId22" Type="http://schemas.openxmlformats.org/officeDocument/2006/relationships/slideLayout" Target="../slideLayouts/slideLayout105.xml"/><Relationship Id="rId27" Type="http://schemas.openxmlformats.org/officeDocument/2006/relationships/tags" Target="../tags/tag143.xml"/><Relationship Id="rId30" Type="http://schemas.openxmlformats.org/officeDocument/2006/relationships/tags" Target="../tags/tag146.xml"/><Relationship Id="rId35" Type="http://schemas.openxmlformats.org/officeDocument/2006/relationships/image" Target="../media/image3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18" Type="http://schemas.openxmlformats.org/officeDocument/2006/relationships/slideLayout" Target="../slideLayouts/slideLayout125.xml"/><Relationship Id="rId26" Type="http://schemas.openxmlformats.org/officeDocument/2006/relationships/vmlDrawing" Target="../drawings/vmlDrawing5.vml"/><Relationship Id="rId3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128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slideLayout" Target="../slideLayouts/slideLayout124.xml"/><Relationship Id="rId25" Type="http://schemas.openxmlformats.org/officeDocument/2006/relationships/theme" Target="../theme/theme6.xml"/><Relationship Id="rId33" Type="http://schemas.openxmlformats.org/officeDocument/2006/relationships/oleObject" Target="../embeddings/oleObject5.bin"/><Relationship Id="rId2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23.xml"/><Relationship Id="rId20" Type="http://schemas.openxmlformats.org/officeDocument/2006/relationships/slideLayout" Target="../slideLayouts/slideLayout127.xml"/><Relationship Id="rId29" Type="http://schemas.openxmlformats.org/officeDocument/2006/relationships/tags" Target="../tags/tag192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slideLayout" Target="../slideLayouts/slideLayout131.xml"/><Relationship Id="rId32" Type="http://schemas.openxmlformats.org/officeDocument/2006/relationships/tags" Target="../tags/tag195.xml"/><Relationship Id="rId5" Type="http://schemas.openxmlformats.org/officeDocument/2006/relationships/slideLayout" Target="../slideLayouts/slideLayout112.xml"/><Relationship Id="rId15" Type="http://schemas.openxmlformats.org/officeDocument/2006/relationships/slideLayout" Target="../slideLayouts/slideLayout122.xml"/><Relationship Id="rId23" Type="http://schemas.openxmlformats.org/officeDocument/2006/relationships/slideLayout" Target="../slideLayouts/slideLayout130.xml"/><Relationship Id="rId28" Type="http://schemas.openxmlformats.org/officeDocument/2006/relationships/tags" Target="../tags/tag191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17.xml"/><Relationship Id="rId19" Type="http://schemas.openxmlformats.org/officeDocument/2006/relationships/slideLayout" Target="../slideLayouts/slideLayout126.xml"/><Relationship Id="rId31" Type="http://schemas.openxmlformats.org/officeDocument/2006/relationships/tags" Target="../tags/tag194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slideLayout" Target="../slideLayouts/slideLayout129.xml"/><Relationship Id="rId27" Type="http://schemas.openxmlformats.org/officeDocument/2006/relationships/tags" Target="../tags/tag190.xml"/><Relationship Id="rId30" Type="http://schemas.openxmlformats.org/officeDocument/2006/relationships/tags" Target="../tags/tag193.xml"/><Relationship Id="rId35" Type="http://schemas.openxmlformats.org/officeDocument/2006/relationships/image" Target="../media/image1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18" Type="http://schemas.openxmlformats.org/officeDocument/2006/relationships/slideLayout" Target="../slideLayouts/slideLayout149.xml"/><Relationship Id="rId26" Type="http://schemas.openxmlformats.org/officeDocument/2006/relationships/vmlDrawing" Target="../drawings/vmlDrawing6.vml"/><Relationship Id="rId3" Type="http://schemas.openxmlformats.org/officeDocument/2006/relationships/slideLayout" Target="../slideLayouts/slideLayout134.xml"/><Relationship Id="rId21" Type="http://schemas.openxmlformats.org/officeDocument/2006/relationships/slideLayout" Target="../slideLayouts/slideLayout152.xml"/><Relationship Id="rId34" Type="http://schemas.openxmlformats.org/officeDocument/2006/relationships/image" Target="../media/image16.emf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17" Type="http://schemas.openxmlformats.org/officeDocument/2006/relationships/slideLayout" Target="../slideLayouts/slideLayout148.xml"/><Relationship Id="rId25" Type="http://schemas.openxmlformats.org/officeDocument/2006/relationships/theme" Target="../theme/theme7.xml"/><Relationship Id="rId33" Type="http://schemas.openxmlformats.org/officeDocument/2006/relationships/image" Target="../media/image2.jpeg"/><Relationship Id="rId2" Type="http://schemas.openxmlformats.org/officeDocument/2006/relationships/slideLayout" Target="../slideLayouts/slideLayout133.xml"/><Relationship Id="rId16" Type="http://schemas.openxmlformats.org/officeDocument/2006/relationships/slideLayout" Target="../slideLayouts/slideLayout147.xml"/><Relationship Id="rId20" Type="http://schemas.openxmlformats.org/officeDocument/2006/relationships/slideLayout" Target="../slideLayouts/slideLayout151.xml"/><Relationship Id="rId29" Type="http://schemas.openxmlformats.org/officeDocument/2006/relationships/tags" Target="../tags/tag239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24" Type="http://schemas.openxmlformats.org/officeDocument/2006/relationships/slideLayout" Target="../slideLayouts/slideLayout155.xml"/><Relationship Id="rId32" Type="http://schemas.openxmlformats.org/officeDocument/2006/relationships/oleObject" Target="../embeddings/oleObject6.bin"/><Relationship Id="rId5" Type="http://schemas.openxmlformats.org/officeDocument/2006/relationships/slideLayout" Target="../slideLayouts/slideLayout136.xml"/><Relationship Id="rId15" Type="http://schemas.openxmlformats.org/officeDocument/2006/relationships/slideLayout" Target="../slideLayouts/slideLayout146.xml"/><Relationship Id="rId23" Type="http://schemas.openxmlformats.org/officeDocument/2006/relationships/slideLayout" Target="../slideLayouts/slideLayout154.xml"/><Relationship Id="rId28" Type="http://schemas.openxmlformats.org/officeDocument/2006/relationships/tags" Target="../tags/tag238.xml"/><Relationship Id="rId10" Type="http://schemas.openxmlformats.org/officeDocument/2006/relationships/slideLayout" Target="../slideLayouts/slideLayout141.xml"/><Relationship Id="rId19" Type="http://schemas.openxmlformats.org/officeDocument/2006/relationships/slideLayout" Target="../slideLayouts/slideLayout150.xml"/><Relationship Id="rId31" Type="http://schemas.openxmlformats.org/officeDocument/2006/relationships/tags" Target="../tags/tag2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slideLayout" Target="../slideLayouts/slideLayout145.xml"/><Relationship Id="rId22" Type="http://schemas.openxmlformats.org/officeDocument/2006/relationships/slideLayout" Target="../slideLayouts/slideLayout153.xml"/><Relationship Id="rId27" Type="http://schemas.openxmlformats.org/officeDocument/2006/relationships/tags" Target="../tags/tag237.xml"/><Relationship Id="rId30" Type="http://schemas.openxmlformats.org/officeDocument/2006/relationships/tags" Target="../tags/tag240.xml"/><Relationship Id="rId35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91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BML:  24 November 2017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Education\WCG - Logo - Education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4324" y="6166615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ZA" dirty="0" smtClean="0"/>
              <a:t>2018/05/30</a:t>
            </a:r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ZA" dirty="0" smtClean="0"/>
              <a:t>PROGRESS REPORT – INFRASTRUCTURE DELIVERY (4</a:t>
            </a:r>
            <a:r>
              <a:rPr lang="en-ZA" baseline="30000" dirty="0" smtClean="0"/>
              <a:t>TH</a:t>
            </a:r>
            <a:r>
              <a:rPr lang="en-ZA" dirty="0" smtClean="0"/>
              <a:t> QUARTER 2017/18)</a:t>
            </a: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39C433-1E55-4072-9B73-941B1C44E211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1778488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254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Go to Insert &gt; Header &amp; Footer &gt; Enter presentation name into footer field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Education\WCG - Logo - Education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4324" y="6166615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855851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78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>
                <a:solidFill>
                  <a:srgbClr val="998F86"/>
                </a:solidFill>
              </a:rPr>
              <a:t>PG MTEC 1 Engagement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547957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  <p:sldLayoutId id="2147483739" r:id="rId14"/>
    <p:sldLayoutId id="2147483740" r:id="rId15"/>
    <p:sldLayoutId id="2147483741" r:id="rId16"/>
    <p:sldLayoutId id="2147483742" r:id="rId17"/>
    <p:sldLayoutId id="2147483743" r:id="rId18"/>
    <p:sldLayoutId id="2147483744" r:id="rId19"/>
    <p:sldLayoutId id="2147483745" r:id="rId20"/>
    <p:sldLayoutId id="2147483746" r:id="rId21"/>
    <p:sldLayoutId id="2147483747" r:id="rId22"/>
    <p:sldLayoutId id="2147483748" r:id="rId23"/>
    <p:sldLayoutId id="2147483749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302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Quality Education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Education\WCG - Logo - Education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4324" y="6166615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408294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6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914400"/>
            <a:fld id="{8406839F-D7A4-4E5D-B93D-768AD4D1DB36}" type="slidenum">
              <a:rPr lang="en-ZA" smtClean="0">
                <a:solidFill>
                  <a:srgbClr val="003399"/>
                </a:solidFill>
              </a:rPr>
              <a:pPr defTabSz="914400"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400"/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defTabSz="914400"/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Department of the Premier\WCG - Logo - Department of the Premier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19015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  <p:sldLayoutId id="2147483799" r:id="rId12"/>
    <p:sldLayoutId id="2147483800" r:id="rId13"/>
    <p:sldLayoutId id="2147483801" r:id="rId14"/>
    <p:sldLayoutId id="2147483802" r:id="rId15"/>
    <p:sldLayoutId id="2147483803" r:id="rId16"/>
    <p:sldLayoutId id="2147483804" r:id="rId17"/>
    <p:sldLayoutId id="2147483805" r:id="rId18"/>
    <p:sldLayoutId id="2147483806" r:id="rId19"/>
    <p:sldLayoutId id="2147483807" r:id="rId20"/>
    <p:sldLayoutId id="2147483808" r:id="rId21"/>
    <p:sldLayoutId id="2147483809" r:id="rId22"/>
    <p:sldLayoutId id="2147483810" r:id="rId23"/>
    <p:sldLayoutId id="2147483811" r:id="rId24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49" name="think-cell Slide" r:id="rId32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dirty="0"/>
              <a:t>WCED Presentation DBE Visit 20150126</a:t>
            </a:r>
            <a:endParaRPr lang="en-GB" dirty="0"/>
          </a:p>
        </p:txBody>
      </p:sp>
      <p:pic>
        <p:nvPicPr>
          <p:cNvPr id="11" name="Picture 10"/>
          <p:cNvPicPr/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6209195"/>
            <a:ext cx="1728192" cy="5321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808526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  <p:sldLayoutId id="2147483836" r:id="rId20"/>
    <p:sldLayoutId id="2147483837" r:id="rId21"/>
    <p:sldLayoutId id="2147483838" r:id="rId22"/>
    <p:sldLayoutId id="2147483839" r:id="rId23"/>
    <p:sldLayoutId id="2147483840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5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20072" y="4532528"/>
            <a:ext cx="2304256" cy="624664"/>
          </a:xfrm>
        </p:spPr>
        <p:txBody>
          <a:bodyPr>
            <a:normAutofit/>
          </a:bodyPr>
          <a:lstStyle/>
          <a:p>
            <a:r>
              <a:rPr lang="en-GB" dirty="0" smtClean="0"/>
              <a:t>30 May 2018</a:t>
            </a:r>
            <a:endParaRPr lang="en-GB" dirty="0"/>
          </a:p>
        </p:txBody>
      </p:sp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467544" y="3284985"/>
            <a:ext cx="8280920" cy="1008112"/>
          </a:xfrm>
        </p:spPr>
        <p:txBody>
          <a:bodyPr>
            <a:normAutofit fontScale="90000"/>
          </a:bodyPr>
          <a:lstStyle/>
          <a:p>
            <a:pPr algn="ctr"/>
            <a:r>
              <a:rPr lang="en-GB" dirty="0" smtClean="0"/>
              <a:t>report to the select committee ON APPROPRIATIONS</a:t>
            </a:r>
            <a:br>
              <a:rPr lang="en-GB" dirty="0" smtClean="0"/>
            </a:br>
            <a:r>
              <a:rPr lang="en-GB" dirty="0" smtClean="0"/>
              <a:t> infrastructure delivery in the wced</a:t>
            </a:r>
            <a:br>
              <a:rPr lang="en-GB" dirty="0" smtClean="0"/>
            </a:br>
            <a:r>
              <a:rPr lang="en-GB" dirty="0" smtClean="0"/>
              <a:t>fourth quarter 2017/18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87507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 smtClean="0"/>
              <a:t>GRADE R FACILITIES</a:t>
            </a:r>
            <a:endParaRPr lang="en-ZA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0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PROGRESS REPORT – INFRASTRUCTURE DELIVERY (</a:t>
            </a:r>
            <a:r>
              <a:rPr lang="en-ZA" dirty="0" smtClean="0"/>
              <a:t>4</a:t>
            </a:r>
            <a:r>
              <a:rPr lang="en-ZA" baseline="30000" dirty="0" smtClean="0"/>
              <a:t>th</a:t>
            </a:r>
            <a:r>
              <a:rPr lang="en-ZA" dirty="0" smtClean="0"/>
              <a:t> QUARTER </a:t>
            </a:r>
            <a:r>
              <a:rPr lang="en-ZA" dirty="0"/>
              <a:t>2017/18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5" y="1207256"/>
            <a:ext cx="8597205" cy="4885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51315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 smtClean="0"/>
              <a:t>DROUGHT INTERVENTIONS</a:t>
            </a:r>
            <a:endParaRPr lang="en-ZA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1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PROGRESS REPORT – INFRASTRUCTURE DELIVERY (</a:t>
            </a:r>
            <a:r>
              <a:rPr lang="en-ZA" dirty="0" smtClean="0"/>
              <a:t>4</a:t>
            </a:r>
            <a:r>
              <a:rPr lang="en-ZA" baseline="30000" dirty="0" smtClean="0"/>
              <a:t>th</a:t>
            </a:r>
            <a:r>
              <a:rPr lang="en-ZA" dirty="0" smtClean="0"/>
              <a:t> QUARTER </a:t>
            </a:r>
            <a:r>
              <a:rPr lang="en-ZA" dirty="0"/>
              <a:t>2017/18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0"/>
            <a:r>
              <a:rPr lang="en-ZA" sz="2400" dirty="0">
                <a:solidFill>
                  <a:srgbClr val="3377FF">
                    <a:lumMod val="50000"/>
                  </a:srgbClr>
                </a:solidFill>
              </a:rPr>
              <a:t>By the end of the 4</a:t>
            </a:r>
            <a:r>
              <a:rPr lang="en-ZA" sz="2400" baseline="30000" dirty="0">
                <a:solidFill>
                  <a:srgbClr val="3377FF">
                    <a:lumMod val="50000"/>
                  </a:srgbClr>
                </a:solidFill>
              </a:rPr>
              <a:t>th</a:t>
            </a:r>
            <a:r>
              <a:rPr lang="en-ZA" sz="2400" dirty="0">
                <a:solidFill>
                  <a:srgbClr val="3377FF">
                    <a:lumMod val="50000"/>
                  </a:srgbClr>
                </a:solidFill>
              </a:rPr>
              <a:t> Quarter 2017/18 the following drought intervention projects were in progress</a:t>
            </a:r>
            <a:r>
              <a:rPr lang="en-ZA" sz="2400" dirty="0" smtClean="0">
                <a:solidFill>
                  <a:srgbClr val="3377FF">
                    <a:lumMod val="50000"/>
                  </a:srgbClr>
                </a:solidFill>
              </a:rPr>
              <a:t>:</a:t>
            </a:r>
          </a:p>
          <a:p>
            <a:pPr lvl="0"/>
            <a:endParaRPr lang="en-ZA" sz="2400" dirty="0">
              <a:solidFill>
                <a:srgbClr val="3377FF">
                  <a:lumMod val="50000"/>
                </a:srgb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58336376"/>
              </p:ext>
            </p:extLst>
          </p:nvPr>
        </p:nvGraphicFramePr>
        <p:xfrm>
          <a:off x="611559" y="2276872"/>
          <a:ext cx="7848873" cy="3405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8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51250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61629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91736">
                <a:tc>
                  <a:txBody>
                    <a:bodyPr/>
                    <a:lstStyle/>
                    <a:p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2000" b="1" dirty="0" smtClean="0"/>
                        <a:t>Project Description</a:t>
                      </a:r>
                    </a:p>
                    <a:p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Projects Completed</a:t>
                      </a:r>
                      <a:endParaRPr lang="en-ZA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00768"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1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Water restrictors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91</a:t>
                      </a:r>
                      <a:endParaRPr lang="en-ZA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00768"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2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Smart water meters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187</a:t>
                      </a:r>
                      <a:endParaRPr lang="en-ZA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00768"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3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Testing borehole water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232</a:t>
                      </a:r>
                      <a:endParaRPr lang="en-ZA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0768"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4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Repair non-functioning boreholes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201</a:t>
                      </a:r>
                      <a:endParaRPr lang="en-ZA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00768"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5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Procure fire extinguishers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11</a:t>
                      </a:r>
                      <a:r>
                        <a:rPr lang="en-ZA" sz="2000" b="1" baseline="0" dirty="0" smtClean="0"/>
                        <a:t> 000 </a:t>
                      </a:r>
                      <a:endParaRPr lang="en-ZA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00768"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6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Develop a GIS tool to assess water security at schools</a:t>
                      </a:r>
                      <a:endParaRPr lang="en-ZA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000" b="1" dirty="0" smtClean="0"/>
                        <a:t>On going</a:t>
                      </a:r>
                      <a:endParaRPr lang="en-ZA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830600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 smtClean="0"/>
              <a:t>DEVELOPED A GIS TOOL</a:t>
            </a:r>
            <a:endParaRPr lang="en-ZA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2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PROGRESS REPORT – INFRASTRUCTURE DELIVERY (</a:t>
            </a:r>
            <a:r>
              <a:rPr lang="en-ZA" dirty="0" smtClean="0"/>
              <a:t>4</a:t>
            </a:r>
            <a:r>
              <a:rPr lang="en-ZA" baseline="30000" dirty="0" smtClean="0"/>
              <a:t>th</a:t>
            </a:r>
            <a:r>
              <a:rPr lang="en-ZA" dirty="0" smtClean="0"/>
              <a:t> QUARTER </a:t>
            </a:r>
            <a:r>
              <a:rPr lang="en-ZA" dirty="0"/>
              <a:t>2017/18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5275" y="1196752"/>
            <a:ext cx="8525197" cy="48960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68832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 smtClean="0"/>
              <a:t>ONGOING RISKS/CHALLENGES</a:t>
            </a:r>
            <a:endParaRPr lang="en-ZA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13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PROGRESS REPORT – INFRASTRUCTURE DELIVERY (</a:t>
            </a:r>
            <a:r>
              <a:rPr lang="en-ZA" dirty="0" smtClean="0"/>
              <a:t>4</a:t>
            </a:r>
            <a:r>
              <a:rPr lang="en-ZA" baseline="30000" dirty="0" smtClean="0"/>
              <a:t>th</a:t>
            </a:r>
            <a:r>
              <a:rPr lang="en-ZA" dirty="0" smtClean="0"/>
              <a:t> QUARTER </a:t>
            </a:r>
            <a:r>
              <a:rPr lang="en-ZA" dirty="0"/>
              <a:t>2017/18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39552" y="1196752"/>
            <a:ext cx="8064896" cy="4824536"/>
          </a:xfrm>
        </p:spPr>
        <p:txBody>
          <a:bodyPr>
            <a:normAutofit fontScale="77500" lnSpcReduction="20000"/>
          </a:bodyPr>
          <a:lstStyle/>
          <a:p>
            <a:pPr marL="571500" indent="-571500" algn="just">
              <a:buFont typeface="Arial" panose="020B0604020202020204" pitchFamily="34" charset="0"/>
              <a:buChar char="•"/>
            </a:pPr>
            <a:r>
              <a:rPr lang="en-ZA" sz="3600" dirty="0" smtClean="0">
                <a:solidFill>
                  <a:schemeClr val="tx2"/>
                </a:solidFill>
              </a:rPr>
              <a:t>Annual </a:t>
            </a:r>
            <a:r>
              <a:rPr lang="en-ZA" sz="3600" u="sng" dirty="0" smtClean="0">
                <a:solidFill>
                  <a:schemeClr val="tx2"/>
                </a:solidFill>
              </a:rPr>
              <a:t>learner growth </a:t>
            </a:r>
            <a:r>
              <a:rPr lang="en-ZA" sz="3600" dirty="0" smtClean="0">
                <a:solidFill>
                  <a:schemeClr val="tx2"/>
                </a:solidFill>
              </a:rPr>
              <a:t>of average 18 000. Results in overcrowding.</a:t>
            </a:r>
          </a:p>
          <a:p>
            <a:pPr marL="571500" indent="-571500" algn="just">
              <a:buFont typeface="Arial" panose="020B0604020202020204" pitchFamily="34" charset="0"/>
              <a:buChar char="•"/>
            </a:pPr>
            <a:r>
              <a:rPr lang="en-ZA" sz="3600" dirty="0" smtClean="0">
                <a:solidFill>
                  <a:schemeClr val="tx2"/>
                </a:solidFill>
              </a:rPr>
              <a:t>Success of learner </a:t>
            </a:r>
            <a:r>
              <a:rPr lang="en-ZA" sz="3600" u="sng" dirty="0" smtClean="0">
                <a:solidFill>
                  <a:schemeClr val="tx2"/>
                </a:solidFill>
              </a:rPr>
              <a:t>retention</a:t>
            </a:r>
            <a:r>
              <a:rPr lang="en-ZA" sz="3600" dirty="0" smtClean="0">
                <a:solidFill>
                  <a:schemeClr val="tx2"/>
                </a:solidFill>
              </a:rPr>
              <a:t> in the system.</a:t>
            </a:r>
          </a:p>
          <a:p>
            <a:pPr marL="571500" indent="-571500" algn="just">
              <a:buFont typeface="Arial" panose="020B0604020202020204" pitchFamily="34" charset="0"/>
              <a:buChar char="•"/>
            </a:pPr>
            <a:r>
              <a:rPr lang="en-ZA" sz="3600" dirty="0" smtClean="0">
                <a:solidFill>
                  <a:schemeClr val="tx2"/>
                </a:solidFill>
              </a:rPr>
              <a:t>Infrastructure </a:t>
            </a:r>
            <a:r>
              <a:rPr lang="en-ZA" sz="3600" u="sng" dirty="0" smtClean="0">
                <a:solidFill>
                  <a:schemeClr val="tx2"/>
                </a:solidFill>
              </a:rPr>
              <a:t>budget</a:t>
            </a:r>
            <a:r>
              <a:rPr lang="en-ZA" sz="3600" dirty="0" smtClean="0">
                <a:solidFill>
                  <a:schemeClr val="tx2"/>
                </a:solidFill>
              </a:rPr>
              <a:t> remains constant – no significant growth.</a:t>
            </a:r>
          </a:p>
          <a:p>
            <a:pPr marL="571500" indent="-571500" algn="just">
              <a:buFont typeface="Arial" panose="020B0604020202020204" pitchFamily="34" charset="0"/>
              <a:buChar char="•"/>
            </a:pPr>
            <a:r>
              <a:rPr lang="en-ZA" sz="3600" dirty="0" smtClean="0">
                <a:solidFill>
                  <a:schemeClr val="tx2"/>
                </a:solidFill>
              </a:rPr>
              <a:t>Steep </a:t>
            </a:r>
            <a:r>
              <a:rPr lang="en-ZA" sz="3600" u="sng" dirty="0" smtClean="0">
                <a:solidFill>
                  <a:schemeClr val="tx2"/>
                </a:solidFill>
              </a:rPr>
              <a:t>escalation</a:t>
            </a:r>
            <a:r>
              <a:rPr lang="en-ZA" sz="3600" dirty="0" smtClean="0">
                <a:solidFill>
                  <a:schemeClr val="tx2"/>
                </a:solidFill>
              </a:rPr>
              <a:t> of infrastructure delivery cost</a:t>
            </a:r>
          </a:p>
          <a:p>
            <a:pPr marL="571500" indent="-571500" algn="just">
              <a:buFont typeface="Arial" panose="020B0604020202020204" pitchFamily="34" charset="0"/>
              <a:buChar char="•"/>
            </a:pPr>
            <a:r>
              <a:rPr lang="en-ZA" sz="3600" u="sng" dirty="0" smtClean="0">
                <a:solidFill>
                  <a:schemeClr val="tx2"/>
                </a:solidFill>
              </a:rPr>
              <a:t>Backlog</a:t>
            </a:r>
            <a:r>
              <a:rPr lang="en-ZA" sz="3600" dirty="0" smtClean="0">
                <a:solidFill>
                  <a:schemeClr val="tx2"/>
                </a:solidFill>
              </a:rPr>
              <a:t> in the maintenance of existing stock is growing.</a:t>
            </a:r>
          </a:p>
          <a:p>
            <a:pPr marL="571500" indent="-571500" algn="just">
              <a:buFont typeface="Arial" panose="020B0604020202020204" pitchFamily="34" charset="0"/>
              <a:buChar char="•"/>
            </a:pPr>
            <a:r>
              <a:rPr lang="en-ZA" sz="3600" dirty="0" smtClean="0">
                <a:solidFill>
                  <a:schemeClr val="tx2"/>
                </a:solidFill>
              </a:rPr>
              <a:t>Non-availability of </a:t>
            </a:r>
            <a:r>
              <a:rPr lang="en-ZA" sz="3600" u="sng" dirty="0" smtClean="0">
                <a:solidFill>
                  <a:schemeClr val="tx2"/>
                </a:solidFill>
              </a:rPr>
              <a:t>appropriate land</a:t>
            </a:r>
            <a:r>
              <a:rPr lang="en-ZA" sz="3600" dirty="0" smtClean="0">
                <a:solidFill>
                  <a:schemeClr val="tx2"/>
                </a:solidFill>
              </a:rPr>
              <a:t>, especially in the Metropole.</a:t>
            </a:r>
          </a:p>
          <a:p>
            <a:pPr marL="571500" indent="-571500" algn="just">
              <a:buFont typeface="Arial" panose="020B0604020202020204" pitchFamily="34" charset="0"/>
              <a:buChar char="•"/>
            </a:pPr>
            <a:r>
              <a:rPr lang="en-ZA" sz="3600" u="sng" dirty="0" smtClean="0">
                <a:solidFill>
                  <a:schemeClr val="tx2"/>
                </a:solidFill>
              </a:rPr>
              <a:t>Non-performing contractors</a:t>
            </a:r>
            <a:r>
              <a:rPr lang="en-ZA" sz="3600" dirty="0" smtClean="0">
                <a:solidFill>
                  <a:schemeClr val="tx2"/>
                </a:solidFill>
              </a:rPr>
              <a:t>, especially on maintenance projects.</a:t>
            </a:r>
          </a:p>
          <a:p>
            <a:pPr algn="just"/>
            <a:endParaRPr lang="en-ZA" sz="3600" dirty="0">
              <a:solidFill>
                <a:schemeClr val="tx2"/>
              </a:solidFill>
            </a:endParaRPr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2319660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 smtClean="0"/>
              <a:t>ORIGINAL INFRASTRUCTURE BUDGET 2017/18</a:t>
            </a:r>
            <a:endParaRPr lang="en-ZA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 smtClean="0"/>
              <a:t>PROGRESS REPORT – INFRASTRUCTURE DELIVERY (4</a:t>
            </a:r>
            <a:r>
              <a:rPr lang="en-ZA" baseline="30000" dirty="0" smtClean="0"/>
              <a:t>TH</a:t>
            </a:r>
            <a:r>
              <a:rPr lang="en-ZA" dirty="0" smtClean="0"/>
              <a:t> QUARTER 2017/18)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536" y="1124744"/>
            <a:ext cx="8424936" cy="5040560"/>
          </a:xfrm>
        </p:spPr>
        <p:txBody>
          <a:bodyPr>
            <a:no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2400" dirty="0" smtClean="0">
                <a:solidFill>
                  <a:schemeClr val="tx2"/>
                </a:solidFill>
              </a:rPr>
              <a:t>Composition of the 2017/18 budge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400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4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400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4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400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4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400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4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2400" dirty="0" smtClean="0">
                <a:solidFill>
                  <a:schemeClr val="tx2"/>
                </a:solidFill>
              </a:rPr>
              <a:t>Amount allocated to maintenance was R 412,7m (=23,7% of budget)</a:t>
            </a:r>
          </a:p>
          <a:p>
            <a:endParaRPr lang="en-ZA" sz="24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400" dirty="0">
              <a:solidFill>
                <a:schemeClr val="tx2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47665493"/>
              </p:ext>
            </p:extLst>
          </p:nvPr>
        </p:nvGraphicFramePr>
        <p:xfrm>
          <a:off x="611560" y="1988840"/>
          <a:ext cx="7776865" cy="2583900"/>
        </p:xfrm>
        <a:graphic>
          <a:graphicData uri="http://schemas.openxmlformats.org/drawingml/2006/table">
            <a:tbl>
              <a:tblPr/>
              <a:tblGrid>
                <a:gridCol w="172819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9544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1692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7220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6409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54393">
                <a:tc>
                  <a:txBody>
                    <a:bodyPr/>
                    <a:lstStyle/>
                    <a:p>
                      <a:pPr algn="l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en-ZA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OURCE</a:t>
                      </a:r>
                      <a:endParaRPr lang="en-ZA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IG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4393">
                <a:tc>
                  <a:txBody>
                    <a:bodyPr/>
                    <a:lstStyle/>
                    <a:p>
                      <a:pPr algn="l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00</a:t>
                      </a:r>
                      <a:endParaRPr lang="en-ZA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37557">
                <a:tc>
                  <a:txBody>
                    <a:bodyPr/>
                    <a:lstStyle/>
                    <a:p>
                      <a:pPr algn="l" fontAlgn="b"/>
                      <a:r>
                        <a:rPr lang="en-ZA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RIGINAL BUDGET</a:t>
                      </a:r>
                      <a:endParaRPr lang="en-ZA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</a:t>
                      </a:r>
                      <a:r>
                        <a:rPr lang="en-ZA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093 580</a:t>
                      </a:r>
                      <a:endParaRPr lang="en-ZA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</a:t>
                      </a:r>
                      <a:r>
                        <a:rPr lang="en-ZA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20 464</a:t>
                      </a:r>
                      <a:endParaRPr lang="en-ZA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</a:t>
                      </a:r>
                      <a:r>
                        <a:rPr lang="en-ZA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614 044</a:t>
                      </a:r>
                      <a:endParaRPr lang="en-ZA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37557">
                <a:tc>
                  <a:txBody>
                    <a:bodyPr/>
                    <a:lstStyle/>
                    <a:p>
                      <a:pPr algn="l" fontAlgn="b"/>
                      <a:r>
                        <a:rPr lang="en-ZA" sz="2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EVISED BUDGET</a:t>
                      </a:r>
                      <a:endParaRPr lang="en-ZA" sz="2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1 149 11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588 62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1 737 731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834948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/>
              <a:t>PROGRESS AS AT THIRD QUARTER 2017/18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3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en-ZA" dirty="0" smtClean="0"/>
          </a:p>
          <a:p>
            <a:endParaRPr lang="en-ZA" dirty="0"/>
          </a:p>
          <a:p>
            <a:endParaRPr lang="en-ZA" dirty="0"/>
          </a:p>
          <a:p>
            <a:r>
              <a:rPr lang="en-GB" dirty="0" smtClean="0"/>
              <a:t>PROGRESS REPORT – INFRASTRUCTURE DELIVERY (4</a:t>
            </a:r>
            <a:r>
              <a:rPr lang="en-GB" baseline="30000" dirty="0" smtClean="0"/>
              <a:t>TH</a:t>
            </a:r>
            <a:r>
              <a:rPr lang="en-GB" dirty="0" smtClean="0"/>
              <a:t> QUARTER 2017/18)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5536" y="1052736"/>
            <a:ext cx="8352928" cy="4176464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2800" dirty="0" smtClean="0">
                <a:solidFill>
                  <a:schemeClr val="tx2"/>
                </a:solidFill>
              </a:rPr>
              <a:t>Expenditure as at 31 December 2017 was as follows: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800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800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800" dirty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800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2800" dirty="0">
              <a:solidFill>
                <a:schemeClr val="tx2"/>
              </a:solidFill>
            </a:endParaRPr>
          </a:p>
          <a:p>
            <a:endParaRPr lang="en-ZA" sz="3200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3200" dirty="0" smtClean="0">
              <a:solidFill>
                <a:schemeClr val="tx2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ZA" sz="3200" dirty="0">
              <a:solidFill>
                <a:schemeClr val="tx2"/>
              </a:solidFill>
            </a:endParaRPr>
          </a:p>
          <a:p>
            <a:endParaRPr lang="en-ZA" sz="3200" dirty="0" smtClean="0">
              <a:solidFill>
                <a:schemeClr val="tx2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38466526"/>
              </p:ext>
            </p:extLst>
          </p:nvPr>
        </p:nvGraphicFramePr>
        <p:xfrm>
          <a:off x="467543" y="2276872"/>
          <a:ext cx="8136904" cy="3428402"/>
        </p:xfrm>
        <a:graphic>
          <a:graphicData uri="http://schemas.openxmlformats.org/drawingml/2006/table">
            <a:tbl>
              <a:tblPr/>
              <a:tblGrid>
                <a:gridCol w="30963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1206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962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6409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56453"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IG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S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47073"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,000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47073"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penditure at 31 Dec 2017 (3rd Q)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</a:t>
                      </a:r>
                      <a:r>
                        <a:rPr lang="en-ZA" sz="2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21 097</a:t>
                      </a:r>
                      <a:endParaRPr lang="en-ZA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</a:t>
                      </a:r>
                      <a:r>
                        <a:rPr lang="en-ZA" sz="2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1</a:t>
                      </a:r>
                      <a:r>
                        <a:rPr lang="en-ZA" sz="2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322</a:t>
                      </a:r>
                      <a:endParaRPr lang="en-ZA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1 202 419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9,2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7073"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7073"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xpenditure as at 31 March 2018 (4th Q)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</a:t>
                      </a:r>
                      <a:r>
                        <a:rPr lang="en-ZA" sz="2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149</a:t>
                      </a:r>
                      <a:r>
                        <a:rPr lang="en-ZA" sz="2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111</a:t>
                      </a:r>
                      <a:endParaRPr lang="en-ZA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</a:t>
                      </a:r>
                      <a:r>
                        <a:rPr lang="en-ZA" sz="2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25</a:t>
                      </a:r>
                      <a:r>
                        <a:rPr lang="en-ZA" sz="22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867</a:t>
                      </a:r>
                      <a:endParaRPr lang="en-ZA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1 674 978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6,4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47073"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56453">
                <a:tc>
                  <a:txBody>
                    <a:bodyPr/>
                    <a:lstStyle/>
                    <a:p>
                      <a:pPr algn="l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nder-expenditure as at 31 March 2018</a:t>
                      </a:r>
                    </a:p>
                  </a:txBody>
                  <a:tcPr marL="6350" marR="6350" marT="635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</a:t>
                      </a:r>
                      <a:r>
                        <a:rPr lang="en-ZA" sz="2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en-ZA" sz="2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62 75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 62 753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2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,6</a:t>
                      </a:r>
                    </a:p>
                  </a:txBody>
                  <a:tcPr marL="6350" marR="6350" marT="635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215183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 smtClean="0"/>
              <a:t>PROJECTS DELIVERED DURING 2017/18</a:t>
            </a:r>
            <a:endParaRPr lang="en-ZA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4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PROGRESS REPORT – INFRASTRUCTURE DELIVERY (</a:t>
            </a:r>
            <a:r>
              <a:rPr lang="en-ZA" dirty="0" smtClean="0"/>
              <a:t>4</a:t>
            </a:r>
            <a:r>
              <a:rPr lang="en-ZA" baseline="30000" dirty="0" smtClean="0"/>
              <a:t>th</a:t>
            </a:r>
            <a:r>
              <a:rPr lang="en-ZA" dirty="0" smtClean="0"/>
              <a:t> QUARTER </a:t>
            </a:r>
            <a:r>
              <a:rPr lang="en-ZA" dirty="0"/>
              <a:t>2017/18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3942815"/>
              </p:ext>
            </p:extLst>
          </p:nvPr>
        </p:nvGraphicFramePr>
        <p:xfrm>
          <a:off x="251520" y="1124742"/>
          <a:ext cx="8712968" cy="49680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764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3908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7864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187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30229">
                <a:tc>
                  <a:txBody>
                    <a:bodyPr/>
                    <a:lstStyle/>
                    <a:p>
                      <a:r>
                        <a:rPr lang="en-ZA" sz="1600" b="1" dirty="0" smtClean="0"/>
                        <a:t>PROJECTS</a:t>
                      </a:r>
                      <a:endParaRPr lang="en-ZA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b="1" dirty="0" smtClean="0"/>
                        <a:t>APP Targets</a:t>
                      </a:r>
                    </a:p>
                    <a:p>
                      <a:r>
                        <a:rPr lang="en-ZA" sz="1600" b="1" dirty="0" smtClean="0"/>
                        <a:t>(2017/18)</a:t>
                      </a:r>
                      <a:endParaRPr lang="en-ZA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b="1" dirty="0" smtClean="0"/>
                        <a:t>END 3</a:t>
                      </a:r>
                      <a:r>
                        <a:rPr lang="en-ZA" sz="1600" b="1" baseline="30000" dirty="0" smtClean="0"/>
                        <a:t>RD</a:t>
                      </a:r>
                      <a:r>
                        <a:rPr lang="en-ZA" sz="1600" b="1" dirty="0" smtClean="0"/>
                        <a:t> Q</a:t>
                      </a:r>
                      <a:endParaRPr lang="en-ZA" sz="16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b="1" dirty="0" smtClean="0"/>
                        <a:t>END 4</a:t>
                      </a:r>
                      <a:r>
                        <a:rPr lang="en-ZA" sz="1600" b="1" baseline="30000" dirty="0" smtClean="0"/>
                        <a:t>TH</a:t>
                      </a:r>
                      <a:r>
                        <a:rPr lang="en-ZA" sz="1600" b="1" dirty="0" smtClean="0"/>
                        <a:t> Q</a:t>
                      </a:r>
                      <a:endParaRPr lang="en-ZA" sz="16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19020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New Schools (including replacement schools)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9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0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0</a:t>
                      </a:r>
                      <a:endParaRPr lang="en-ZA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5426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Additional classrooms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47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0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47</a:t>
                      </a:r>
                      <a:endParaRPr lang="en-ZA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5426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Gr R Classrooms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33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21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21</a:t>
                      </a:r>
                      <a:endParaRPr lang="en-ZA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35426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Scheduled Maintenance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64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41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64</a:t>
                      </a:r>
                      <a:endParaRPr lang="en-ZA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3542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b="1" dirty="0" smtClean="0"/>
                        <a:t>Emergency mainten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-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258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322</a:t>
                      </a:r>
                      <a:endParaRPr lang="en-ZA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35426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Halls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0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6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0</a:t>
                      </a:r>
                      <a:endParaRPr lang="en-ZA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35426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Fencing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20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20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20</a:t>
                      </a:r>
                      <a:endParaRPr lang="en-ZA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35426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Storm Damage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-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40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30</a:t>
                      </a:r>
                      <a:endParaRPr lang="en-ZA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35426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Mobile units placed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-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03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216</a:t>
                      </a:r>
                      <a:endParaRPr lang="en-ZA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35426">
                <a:tc>
                  <a:txBody>
                    <a:bodyPr/>
                    <a:lstStyle/>
                    <a:p>
                      <a:r>
                        <a:rPr lang="en-ZA" sz="1400" b="1" dirty="0" smtClean="0"/>
                        <a:t>Hostel</a:t>
                      </a:r>
                      <a:r>
                        <a:rPr lang="en-ZA" sz="1400" b="1" baseline="0" dirty="0" smtClean="0"/>
                        <a:t> </a:t>
                      </a:r>
                      <a:r>
                        <a:rPr lang="en-ZA" sz="1400" b="1" dirty="0" smtClean="0"/>
                        <a:t>Refurbishments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0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1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b="1" dirty="0" smtClean="0"/>
                        <a:t>9</a:t>
                      </a:r>
                      <a:endParaRPr lang="en-ZA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865623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 smtClean="0"/>
              <a:t>SCHOOL HALL</a:t>
            </a:r>
            <a:endParaRPr lang="en-ZA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5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PROGRESS REPORT – INFRASTRUCTURE DELIVERY (</a:t>
            </a:r>
            <a:r>
              <a:rPr lang="en-ZA" dirty="0" smtClean="0"/>
              <a:t>4</a:t>
            </a:r>
            <a:r>
              <a:rPr lang="en-ZA" baseline="30000" dirty="0" smtClean="0"/>
              <a:t>th</a:t>
            </a:r>
            <a:r>
              <a:rPr lang="en-ZA" dirty="0" smtClean="0"/>
              <a:t> QUARTER </a:t>
            </a:r>
            <a:r>
              <a:rPr lang="en-ZA" dirty="0"/>
              <a:t>2017/18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7170" name="Picture 2" descr="C:\Users\50284126\Desktop\Picture\20180216_10400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96752"/>
            <a:ext cx="8496944" cy="4824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53853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 smtClean="0"/>
              <a:t>FENCING</a:t>
            </a:r>
            <a:endParaRPr lang="en-ZA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6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PROGRESS REPORT – INFRASTRUCTURE DELIVERY (</a:t>
            </a:r>
            <a:r>
              <a:rPr lang="en-ZA" dirty="0" smtClean="0"/>
              <a:t>4</a:t>
            </a:r>
            <a:r>
              <a:rPr lang="en-ZA" baseline="30000" dirty="0" smtClean="0"/>
              <a:t>th</a:t>
            </a:r>
            <a:r>
              <a:rPr lang="en-ZA" dirty="0" smtClean="0"/>
              <a:t> QUARTER </a:t>
            </a:r>
            <a:r>
              <a:rPr lang="en-ZA" dirty="0"/>
              <a:t>2017/18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5" y="1196752"/>
            <a:ext cx="8597205" cy="482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28074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 smtClean="0"/>
              <a:t>NEW SCHOOL</a:t>
            </a:r>
            <a:endParaRPr lang="en-ZA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7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PROGRESS REPORT – INFRASTRUCTURE DELIVERY (</a:t>
            </a:r>
            <a:r>
              <a:rPr lang="en-ZA" dirty="0" smtClean="0"/>
              <a:t>4</a:t>
            </a:r>
            <a:r>
              <a:rPr lang="en-ZA" baseline="30000" dirty="0" smtClean="0"/>
              <a:t>th</a:t>
            </a:r>
            <a:r>
              <a:rPr lang="en-ZA" dirty="0" smtClean="0"/>
              <a:t> QUARTER </a:t>
            </a:r>
            <a:r>
              <a:rPr lang="en-ZA" dirty="0"/>
              <a:t>2017/18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4" y="1196752"/>
            <a:ext cx="8597206" cy="489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07399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OBILE CLASSROOMS</a:t>
            </a:r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8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PROGRESS REPORT – INFRASTRUCTURE DELIVERY (</a:t>
            </a:r>
            <a:r>
              <a:rPr lang="en-ZA" dirty="0" smtClean="0"/>
              <a:t>4</a:t>
            </a:r>
            <a:r>
              <a:rPr lang="en-ZA" baseline="30000" dirty="0" smtClean="0"/>
              <a:t>th</a:t>
            </a:r>
            <a:r>
              <a:rPr lang="en-ZA" dirty="0" smtClean="0"/>
              <a:t> QUARTER </a:t>
            </a:r>
            <a:r>
              <a:rPr lang="en-ZA" dirty="0"/>
              <a:t>2017/18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5" y="1196751"/>
            <a:ext cx="8597205" cy="489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97792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800" dirty="0" smtClean="0"/>
              <a:t>ABLUTION FACILITIES</a:t>
            </a:r>
            <a:endParaRPr lang="en-ZA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/>
              <a:pPr/>
              <a:t>9</a:t>
            </a:fld>
            <a:endParaRPr lang="en-Z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/>
              <a:t>PROGRESS REPORT – INFRASTRUCTURE DELIVERY (</a:t>
            </a:r>
            <a:r>
              <a:rPr lang="en-ZA" dirty="0" smtClean="0"/>
              <a:t>4</a:t>
            </a:r>
            <a:r>
              <a:rPr lang="en-ZA" baseline="30000" dirty="0" smtClean="0"/>
              <a:t>th</a:t>
            </a:r>
            <a:r>
              <a:rPr lang="en-ZA" dirty="0" smtClean="0"/>
              <a:t> QUARTER </a:t>
            </a:r>
            <a:r>
              <a:rPr lang="en-ZA" dirty="0"/>
              <a:t>2017/18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95275" y="1196752"/>
            <a:ext cx="8597205" cy="4896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29983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kJ3336T6YgZk/cI8w9uaOjq0U9ClCs3JL7SR8Cw7xfnMAIrqkDe+S8lQQVZa+QWUiWwOT/0uBYbTHQeye2F7nAEPpOtap4G70Ljf1BYACEV1QJzIo1YKe5jBqBlwQ+c2pKvjyd8cugW3VXW6wh4OXdZa8WtK5x5UKfgqXrrdkfY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heme/theme1.xml><?xml version="1.0" encoding="utf-8"?>
<a:theme xmlns:a="http://schemas.openxmlformats.org/drawingml/2006/main" name="WCG-Education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WCG-Education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_WCG-Education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WCG-Department of the Premier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Bosberaad July 2014 template (draft 3a)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CG-Education-New PPT Master-01112012</Template>
  <TotalTime>12517</TotalTime>
  <Words>493</Words>
  <Application>Microsoft Office PowerPoint</Application>
  <PresentationFormat>On-screen Show (4:3)</PresentationFormat>
  <Paragraphs>188</Paragraphs>
  <Slides>13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1" baseType="lpstr">
      <vt:lpstr>WCG-Education-New PPT Master-01112012</vt:lpstr>
      <vt:lpstr>Custom Design</vt:lpstr>
      <vt:lpstr>1_WCG-Education-New PPT Master-01112012</vt:lpstr>
      <vt:lpstr>WCG-PPT Master-121022-amc</vt:lpstr>
      <vt:lpstr>2_WCG-Education-New PPT Master-01112012</vt:lpstr>
      <vt:lpstr>WCG-Department of the Premier-New PPT Master-01112012</vt:lpstr>
      <vt:lpstr>Bosberaad July 2014 template (draft 3a)</vt:lpstr>
      <vt:lpstr>think-cell Slide</vt:lpstr>
      <vt:lpstr>report to the select committee ON APPROPRIATIONS  infrastructure delivery in the wced fourth quarter 2017/18</vt:lpstr>
      <vt:lpstr>ORIGINAL INFRASTRUCTURE BUDGET 2017/18</vt:lpstr>
      <vt:lpstr>PROGRESS AS AT THIRD QUARTER 2017/18</vt:lpstr>
      <vt:lpstr>PROJECTS DELIVERED DURING 2017/18</vt:lpstr>
      <vt:lpstr>SCHOOL HALL</vt:lpstr>
      <vt:lpstr>FENCING</vt:lpstr>
      <vt:lpstr>NEW SCHOOL</vt:lpstr>
      <vt:lpstr>MOBILE CLASSROOMS</vt:lpstr>
      <vt:lpstr>ABLUTION FACILITIES</vt:lpstr>
      <vt:lpstr>GRADE R FACILITIES</vt:lpstr>
      <vt:lpstr>DROUGHT INTERVENTIONS</vt:lpstr>
      <vt:lpstr>DEVELOPED A GIS TOOL</vt:lpstr>
      <vt:lpstr>ONGOING RISKS/CHALLENGES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cinda Boniface</dc:creator>
  <cp:keywords>POTX</cp:keywords>
  <cp:lastModifiedBy>PUMZA</cp:lastModifiedBy>
  <cp:revision>228</cp:revision>
  <cp:lastPrinted>2018-05-29T10:04:26Z</cp:lastPrinted>
  <dcterms:created xsi:type="dcterms:W3CDTF">2015-04-17T05:43:46Z</dcterms:created>
  <dcterms:modified xsi:type="dcterms:W3CDTF">2018-05-31T08:20:38Z</dcterms:modified>
  <cp:category>CI</cp:category>
</cp:coreProperties>
</file>